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44" autoAdjust="0"/>
  </p:normalViewPr>
  <p:slideViewPr>
    <p:cSldViewPr>
      <p:cViewPr>
        <p:scale>
          <a:sx n="81" d="100"/>
          <a:sy n="81" d="100"/>
        </p:scale>
        <p:origin x="96" y="-196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677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21" name="Grafik 20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263390A-D1D7-D70B-7C34-EFBF146E7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C096A154-9637-4932-123B-774ED11A806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73BB58BE-5CDB-7BA8-FFB3-F8A1F2AB90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81FDA295-521E-C787-5B8F-E95BAD0BFCB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7634493-A9D1-77DB-E9A7-E2DFD8DD37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15" name="Grafik 14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CE74FF87-C2F5-8C36-C398-7F997D3AAFA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271E55C1-B26E-4C6D-3C7F-E0713AA4BF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3"/>
            <a:ext cx="5430838" cy="420616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187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6B5BF287-0A12-6FDF-1362-6F526DAC68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21" name="Grafik 20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1A5B21BA-FD6C-47FC-21B7-2E8628D1EC1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467" b="9601"/>
          <a:stretch/>
        </p:blipFill>
        <p:spPr>
          <a:xfrm>
            <a:off x="494625" y="6230435"/>
            <a:ext cx="1136879" cy="62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24" name="Grafik 2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99FD8C62-092C-B1F2-3864-A6EB00FDF5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467" b="9601"/>
          <a:stretch/>
        </p:blipFill>
        <p:spPr>
          <a:xfrm>
            <a:off x="494625" y="6230435"/>
            <a:ext cx="1136879" cy="62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20" name="Grafik 1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3F9CE7CE-5B27-2C33-D6DC-1ED5ED4BB23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467" b="9601"/>
          <a:stretch/>
        </p:blipFill>
        <p:spPr>
          <a:xfrm>
            <a:off x="494625" y="6230435"/>
            <a:ext cx="1136879" cy="62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23" name="Grafik 2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1465EFB6-077B-B4F7-863A-D9DC28AA75C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467" b="9601"/>
          <a:stretch/>
        </p:blipFill>
        <p:spPr>
          <a:xfrm>
            <a:off x="494625" y="6230435"/>
            <a:ext cx="1136879" cy="62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7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6D773E2-6362-3791-F895-D4CBD0934D1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29481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6" name="Grafik 15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3162ADF7-2340-4C7B-1308-EB2DBF3F79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6" name="Grafik 15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DAD00A7E-FDAB-B21D-AE05-E5408F811A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6" name="Grafik 15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D8AAC6E-C09D-740C-100C-D7DEC333251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6" name="Grafik 15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BE22DE4E-CE53-B29D-927A-1C8D1BE5A1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12B698F6-41BB-B796-C7A5-37C393F3CE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8F82D03-6975-9418-6FF9-94C24A4F2E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101694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Grafik 2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A6817E33-A4B5-7737-C4A4-3FD19BFB9253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467" b="9601"/>
          <a:stretch/>
        </p:blipFill>
        <p:spPr>
          <a:xfrm>
            <a:off x="494625" y="6230435"/>
            <a:ext cx="1136879" cy="627565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7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1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4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7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7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4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0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19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3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8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2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7.bin"/><Relationship Id="rId27" Type="http://schemas.openxmlformats.org/officeDocument/2006/relationships/image" Target="../media/image21.jpeg"/><Relationship Id="rId3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939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70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640030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EA6B80C-EE1A-49C6-1615-DA0DE9DD23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422EA3E-3873-F9D5-4C5C-AC73878E9CE3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C7B1CF0A-1F95-E6AD-321B-1AC844155693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E9F954AF-0102-525D-5DD2-2D59BAD9675C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3A29E468-3CE9-96D9-A3E3-45E2030D1561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D3193B0D-EE6E-B984-5B89-7F4FC98AAE97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F4239D7E-7E59-6B90-5617-02FFB3A19400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6DC8E7DB-C672-E237-7BA5-155413E3FFFD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57994C74-26B8-8199-08DC-746CF5921586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EA7A8DF3-417D-5620-F682-37F382668FB2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5CDC4213-E6ED-8D3D-2D85-6ED0EB12670D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ABD2A01A-8C59-13AF-8CF8-248385C89B2A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7F6AB334-215F-29E0-483B-034F9C32D6CB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D77B4984-0EE1-44CE-48C2-E9DBA5C8669A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BDC3F655-FB50-9153-A931-D52DA3D78F92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6D062732-AB65-3630-149E-50B2BFB46177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17452938-726D-1ECB-4846-A1B444FF5CE3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FA37A081-D86C-A869-8662-CD0C5B4F4CF1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38F0DC92-B973-5A0D-81EC-AC1BCAAD9293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E8C73697-3E06-6409-922E-A3012F92AA09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D4C49923-93A6-019A-F570-F8369D6DAD07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EE3FECED-5DD3-F8F7-B76F-44A8A28E1803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B76C5AEC-F7E9-0547-43FB-F0928A3B5986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0BDFD742-EE0C-468E-D77E-BC624DAEB20B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1AB83598-51E6-7849-87C3-DFBEB45ECC1C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0672A997-3E1D-9E58-D969-2DA89E101B30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10482F77-303E-FE30-D6E9-14A2B61146E3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29884840-C920-E7DF-93F3-980134E117B6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E20AF514-73C2-2366-2BC0-6C191DB27F0D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4D67B036-D11B-BD63-C73E-B07E1AA50F74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475795CB-90DB-988F-E827-1D7ACF5C8622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47CDBC37-0E29-CCD5-1E8F-9F79AD5593BC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2BA8222B-DDAD-CF91-730D-7C6CB860DF8A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8FC82E68-E562-4BC6-A75E-5180920C4B3F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D30ACAA2-7BB6-1817-613B-B5BB8340B395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4F913122-14C5-902F-A17C-BB521F0B7F7C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D88616B2-062A-13F7-3317-670CA3BB04E6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B960CF9F-BF54-E99D-63F2-919251091FD2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61FD952D-3003-B785-31C7-59ADE1CB6EF3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2194B2CB-8066-F95C-3FCA-490497C9BEB0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F470CE7F-D07D-3593-9FA6-AD0AC8CD0E73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AD2DCE3D-9C9C-FFF5-BA47-ED0F20CEBE10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896A1CA8-94CB-603C-AF8E-807DC34B0925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CC2B354F-CAE8-8AFF-37E5-0E703A081D5A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B3FFCB6E-6BD9-26D9-A918-1A7A636344B0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BBFDC213-CFA1-9B14-17A8-3543C90A4D6E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FA03F7B7-4B46-5554-3985-94D31246859E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33EA4277-B5A7-797F-C66B-631E8D33ECE4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29226EC7-F39C-F25A-C987-A0BB3C42F300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4BF05E18-DE1B-A1A3-10B3-F3DDD3AEC62A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CCA0CD02-4FEB-0217-69FF-B0B990E33897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C9811DF6-7530-DC82-8F48-327DAAE48130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287A37DB-A6FD-E13C-E57A-3189F9B3D2B4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6E46105F-05F1-1D29-F4BB-E3536FC848FF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2E4E4F68-30D4-7773-FB6D-A47CB7F22D74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A386502B-FD09-B375-58CB-4D7937B0B3AA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FFFAA7FB-66C3-E9AB-090A-772146AFBFE0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2128333E-A42F-E1C5-7B6D-95198F87C742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C2C2B817-4D24-D726-B9BB-0EC737CB5EFE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0A960575-2960-1CEE-9FA2-C8B627F42532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19E4A307-24F8-80AB-F888-F0ABB3C86667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F406AE78-CD65-06E4-4E23-19F48B8A8297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BAB5203A-54CA-2508-CC52-04BF98BB7118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96E6B643-3FAA-3F38-631D-5FB4A59DC5B8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27C91443-5B6E-D68E-1654-1F16ED009288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55451592-B3B0-0D35-821D-3559CCE5A32E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DA5237FC-1A99-23DA-C66C-51B1E6648919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882BB3F4-A1CF-003E-A7B8-598587F5F3FD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A43FB15F-49C1-88A9-2E4B-CF3F5B3DE9AD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7B1C07BC-888F-F151-78D2-51A8870E7B70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7D6E931C-8DC7-41AA-2393-0AA98C49DC0E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01DC1470-9682-B37B-36BC-E91EF5EA882E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84F3B982-80F5-131C-B927-7D0023D6C133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9C24AADC-220F-AF97-F612-6B7CDDBC0C78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5C087FD5-5AEF-5DCA-4DCB-1556593695EC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22CD02E4-0B59-F754-6F74-55BF4F30810D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489C2D26-9C59-0C73-20A9-360A2F561B76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188DE359-3942-048F-8EA9-8912788A9E28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5D7B1D28-CDC5-EDEE-DCA2-622B96D01BE0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0B671D8B-54C0-676C-DE98-945E8E334EFA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937FFBB4-3CB4-5E7B-7DD0-44CC64143F35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1E6254C8-564D-E9D8-A23D-2008BC84270F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9A86B5CA-1E0F-1410-E08F-02ABF66CAF6C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D378D5E1-7692-38BB-F445-C7BB72AE1E46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C8E8370D-5937-B83E-A675-B6212C5A3BCB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E9395E99-3BE1-B72F-9425-8F71B601FB1A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D586A9F3-64D3-9596-C4A3-8E215200A8A0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D369708C-B2F1-CEE7-38D7-EF0F7BA224F0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70C451A3-55D1-BD7E-ED22-24D94A6F4901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1D41BDD8-C530-004D-7FDD-9F6726071281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3D4F94CC-1678-0125-C71E-5192AB413135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36DA9DD4-5EB4-1C7E-1CA2-511BEC627EA9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CA34663B-1B33-8850-B420-119852EA1DA4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B66F958F-3D09-DF7A-25A6-3082FD60ADB7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9B526DA2-42AB-4342-E6DB-C74E99CA9261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4B639A44-C3A3-06B9-404C-347D44E1310E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0D9F31E5-B621-7290-13DF-1E066DFDE1D1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A8979F7C-E087-DB82-033E-540D32288B21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440F482B-3465-CE8A-025C-955BB8EDAB2A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2C3C857C-A0B3-6C45-3B50-4BBF606478F6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E78DB484-407C-D3CF-3A5B-FB016CDB5C62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5C82C885-8F4E-A62D-A6BD-0C0F4F657F16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55CAD7BC-CE96-D3E8-8D04-F974406B0A68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46152CC7-CB52-A927-EF4B-DD287E57163F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E62890D5-B15B-13EB-6838-13EE64D26569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FF145D02-286B-8397-3BE0-B6E6684C3A10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C457161D-A4CB-5FD5-90B6-3F5614D2A523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D290FBF0-5118-7C6F-A7A5-3895B639DA86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AA50ADDA-F1E7-9FA6-4F04-7864A56DAF6C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4F9481B4-8A1C-5B9A-7FD6-3915F0A19A9C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B56207AB-0D90-BBE9-C880-C4C546DFA89E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DEF0D57B-909A-0893-03C1-A8E234DD123C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285A8D41-5DE8-16ED-3AD3-020E584BC58E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37E9E51F-3D6A-D3AE-3A6F-91A3377C077E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10C57414-184F-A617-2DD2-9A1AECD3070E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48F13532-2530-435B-5E16-410B86B1626F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207A7E8E-07C8-94A2-68ED-A062334D5208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F8D8211C-3FAB-E0FD-25F5-ECDC967B20A5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F8427F74-CA23-80CF-4EC9-D7046A50C5C7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9392346E-6673-B221-8BDE-BE43DDA4C08D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1EC693B0-C9AE-F7CE-87C6-46724F61F6DE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C3B0F469-0E69-200C-1DC2-83E1B71DF24E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9952D2F9-A575-CD6E-C3D3-15D57C3A9E22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7DB8C86A-F813-3E69-4A9E-2A520151B257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58CE30F1-700B-D83F-D0B6-C1B589F4B732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53394CC9-B91B-0511-A5E9-1CBDB06D45E3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EB54DC7C-10C4-F108-F94F-53792CA43530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AF9A1929-D799-4E0E-4C3A-568ACA7B3B86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0AD70E7A-64B4-8E80-08DF-73A7C628A9BC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FA5D7FEB-47CB-0C29-EA5D-8FFE6898BB37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678D2728-9908-D169-1CE0-88A0621014C0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00248F89-5DCB-DD5F-62D0-236E03EE7E10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A71FA61A-3AAC-7E0C-2E70-A96D7CDDAB74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1BE8BD7F-C874-53A0-E74E-0C8A646B5F22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BB818F56-60E6-1A3D-D92A-DFA5E9ABCAA4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AE149841-8C5B-65CC-C3B4-BF9CE035EF79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0E0D65CF-23ED-9CD2-EF8F-56D6E753901B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417AF6B9-7A17-FA5C-C491-CF2C7C3458B4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9914BA1D-CE2A-DCD7-005D-5E479561892A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B810746C-1F7A-9FF8-8176-8001DEC8E0D3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2D0A88B2-5D79-D7BF-028B-DE3B9743C12C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280853E6-D4B9-83EB-2610-ADF573F5DAB3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2F6A3CBC-7E1D-599D-5791-2D687009A5C9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05474B1F-4DB6-7FF9-5738-A91AB8B3A698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E54AB4B6-D00F-7EEA-492F-3E79AEE522E0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B6F4445E-778F-9753-4D7F-845C73E37E10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8B9DF81A-D8E3-F9A8-38ED-21AC9258307E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7C0688D0-A798-84FB-9C18-EA95E319E714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B95C3002-2351-5092-51A5-B1F38FF4FEE4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B7DE971B-3815-2F36-CEE8-265F3AC8C7E8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6CBEC361-A00D-41D0-D976-7334B7A0F774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74E1CEC0-51BF-D3BC-B4E8-F92A53257F52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624027C1-ACAB-5D6C-6020-8910233BF341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26A38238-5649-8592-DEF8-56B1E9F48B4C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F68CC0D4-F4B7-C750-0B0B-17663D5CB635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1BA085CF-578B-4113-9852-8003674F52B5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23BC175C-4BAC-E6BE-9107-014B97C54334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37E825CF-31A3-B947-441E-F5EE6432FF78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BD2F622F-0FE6-A219-40A0-C391352E9956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6118FA6D-5481-E3DD-647D-CD565154C53A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395A915A-8A0C-194E-5124-0033C8BFC9E0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03787750-27E6-7B5D-65ED-8B7A5ACF3CB6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2D5336D6-BE91-378D-A74E-C4E21D775A41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108B27C1-793F-0C63-03C9-1149E4BEFC31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86E314E7-591A-0300-8C04-4600D0E1C41F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33390297-A456-D2E1-680B-565271AC4341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D06E7826-50B9-C2A1-5A2C-6AA5DE22C32E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DA54AACA-3EB0-0116-61BA-8E34011925E1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89C2FDC5-EE80-FB8D-4EAF-6AE1B11DCFF5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C24A6ECE-D477-87F2-28F3-0A77FCC183DC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E95B7374-7D5B-C7C4-A595-657A56762584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8DE80EBC-4789-3AA8-A31F-A4E508B47E49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3A7FBD2D-E3B0-92A4-B4A9-9405D906B0FA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0431C3C9-29BB-A89D-7115-9C0DAFB6ADB0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4A0700D7-A86F-83C7-6AE2-FBBD374A37D2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0A16383F-5B51-4E82-3FD8-FA6632D5FC3B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3516E4A5-97B9-8513-130B-7EA19719A451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E2058FFC-2402-FDD8-5402-A802E8D5A558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5EF41C14-75C8-9ED0-F70C-D7658B17FBF8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84FEC3A6-AA81-3CEF-2DF0-AFA2D8C043DF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89AE1E7C-1AEF-55D3-E536-A439D4FBC26F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68EC3DF9-AA04-0C1F-53D1-D173CA9B97EA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CD71D7CF-0345-C62C-721F-FCE0B7A1473E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B9AD0511-06A5-3219-3865-E974E82E6593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6A4B7DB0-A45E-9D19-5135-93F8DCA0A695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670DF132-D6F6-4554-212C-AD8FB670F27F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FF397590-C0F4-A3F0-7231-B655E9C7361C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8A8B37AC-9E20-F2F3-B130-516592E812F0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C72E9EF5-044D-3A61-763E-67E7F78BDBAE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850EBEE7-B249-DF79-0128-7A6F598056C9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335B6409-0E71-5C1E-D392-C6A92D485D39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A4CD7C94-D6B9-B7DE-603A-C8B5DEE30484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BF66684D-3049-74D2-1B19-C1AEC24DF43A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6DB0573A-57C7-8DF8-D77D-944601CE19F4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A38FF325-BF58-54EA-3C30-5A8078C488A7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6EADB2E0-B377-219B-17F2-829D96EAF19B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BD7E1028-1F51-ABF4-0859-9EB387E94BFF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68F1BE12-B8F9-6DD9-E96C-93F2B06B6257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CBB5FCAE-34C0-36B1-5EC1-48C3A7AA5A36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B6922046-D14F-2F13-E186-521FE40CCBD8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D1EF90D7-136A-0E04-37F3-87B5CC83DF6D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4FA189C0-8739-545D-7E2E-DD397ED6A30D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D6ACCB7E-4E24-B297-D6B5-1C3F81B83E91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F8E32FD3-1308-026D-E0C5-F415158BB209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BC66C074-FF96-1E29-4DFA-E7830858DF73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22395B2C-42DA-1F23-17B8-E6551689F7CA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0EA2DB2A-7E24-1006-E777-B357723EEA21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F8E416EA-E4D8-BF4D-6CC6-918D71E29717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F679E861-B197-F163-5383-EC5A992CBCBD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BA558594-314D-B637-F027-97714B1EF2EE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3D4954D2-AF6C-596C-2259-AA2C3F20E224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B7F4EC3D-2D14-2B9D-E6A3-1447BBC5CD5E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AA86C331-0943-26AB-3CF2-CEB79B5C3BF6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9AB2DC6A-DA53-30FD-8117-30E93D7B3695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F3E5DB72-3C36-FAB8-49D4-58E047685FC7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EDC0BB20-13A8-9A1B-BB2B-E9EA2DC581EB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40FFB43F-8C7A-2201-A159-4D600E484455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8983EE87-2863-A3E4-491E-8EF392685DAB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9CDC0B52-DE49-E788-3928-8052F06CCE3C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104344F6-4C6E-120D-AE09-0F4D0DC26701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E73C57D8-A1A3-BBFE-D5A8-D8AF9051DD6B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6FB051DA-3F55-AB11-24AC-95182AEE755F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BF1B2B1D-B548-817D-984C-A9DA40E6DF96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5CD55F11-3BC9-AB98-3871-B94124ACEDE3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6A15AD9D-F5DA-41CE-D223-FFADBF4AC2FA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E01B5546-BE1A-9D0B-46D8-03AE345F4DE4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B10267F7-5C81-BCCA-18D6-93A6FE2254E7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378169D0-5F8E-35CE-D203-CBECE1B80704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372D36E3-AF46-D59C-A680-9DA72E1EC8C8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77960587-EDFE-A923-1656-6F0B04D4C960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9A316899-CDCE-8442-049D-DDEBA825411B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513940F2-C6FF-DBEF-945F-5EFFDA07B041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E4A757DC-7941-DA24-4C43-E6A9332F7E08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16300448-6E66-D8E1-4938-4F2E2772A692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9F327545-CECB-ED56-42E0-8B72F39BD911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1769923A-EBF0-40EF-44DA-DF5510B6890C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1FBFEC43-65BF-3D89-2B15-7ACC76D563F6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07700AED-3F9F-4DD2-2159-2DAE6202917D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0E4B4543-CE9F-5FD5-BFB8-A6A2425C89CA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C59CEE97-1A6E-CCE4-4012-318DA41F5B56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17C6F086-8994-5C38-2BDA-305607F9D4D1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F4085C3E-B6C5-CE29-17F7-D7AC709D1ED8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51AE3460-1869-8F6C-85EE-C3B1532C0358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2ECF3BFB-1D73-B21B-C9E8-49D49A59E421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D571FF27-A616-9761-387C-9D26377BC0D4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CF8626EA-03E1-D9EE-9130-ABA0A7C6E10A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329ED749-42E9-662F-0DC6-C23A9867938C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3ED7F75D-C18C-5B05-8D0F-867FFF083F81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3FB34421-2ABB-2524-99B8-B93C1C48839C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33474536-3FCD-70A5-5B4E-978CD62C710E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8F7BF36E-3950-CAE5-3C54-476AB84DF4A0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6166C451-BDA6-F5B4-F6FF-52846C2CC40E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2443B683-97F2-588C-DED5-C063DD2CCC79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95963C65-0D23-38EB-F29E-A7CD776B4B0C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CCD5EA8B-8665-A347-5ADC-2C53FF335F7F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3787307C-B609-DED0-1443-2530A47D6BDD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4BDF16C5-EC25-7D9E-F379-0CBE827B25E5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7B57B8EE-F95C-CA7E-99A8-1FB8E2A5748F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C1A6D376-8A31-386D-D942-5EC43AA9CAF2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E1874394-4EF8-AE66-8276-4390C327C892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D3B69E7D-4BD9-3186-012C-BC0F8737D79A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C04ADFBD-9C70-BA13-652C-16FF0BDF7748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8C442487-7711-0ECB-FF6A-E6691AA0825C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5EE988C6-A09D-0E24-9D37-66717937AB04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2848761F-B8AD-10F3-C66A-2ABA433DEF1A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F382E09A-3409-4FE9-5791-4DCD820ABAB6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BA2AC178-354D-B94A-D6F2-25246ED3A2D3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25600393-5FB7-5CBF-D3F9-7D975C3B7D44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7083F8A0-51C3-FFD9-7C03-0FCD83D55F37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C281C4E4-CBB7-88E8-8D0A-236B42DADFE4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71BB4158-E41A-4C11-A74A-38266AAF78D1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C5DC0DF2-D4B3-57D8-50E9-A19AEA78E46B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5422DC26-A29C-6BC3-D7EB-04538E7C1012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577FD468-2AD2-8B86-6CFD-EE08E95C108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AD06F9E8-F1EF-1383-2B3F-376E43C1A341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9FE20B31-FC75-996D-F5A4-253643C8A699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DF2A60B7-670D-4411-4E0A-B5C9D7B91369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0601E06D-3A67-AA08-C737-60AB50ADF668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6E91D22C-9A82-F844-00BF-112A9F3E39CE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0CE19197-0E32-D5FA-909A-CD6AC3C96363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F37A0089-B3E8-159A-BF74-49404DF1C9FF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93D87D66-ABE9-59D7-3BDF-FFE7828D0266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E6348EE3-4606-20A0-D10E-F46C768780D9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163045C7-60C1-E838-991C-BCFFE93F6428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17A47020-CC9C-6BB0-F3B9-04457E7D2F5F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39AB6C5C-8A38-A367-427C-A4BA5B4E8488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709B6428-A58B-DCD1-7EEF-BAEC56893205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FC9A68EA-C142-5A73-5231-DE604C383DE7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0CB3E22C-6F15-3992-F4E5-AA07D511EB17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D07B53F0-B2D5-0EFC-D92C-9A27CFC75BC8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E8778675-0E53-94C4-F290-16F013196EDC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B050E860-C9A6-B963-A6A2-C9D18F9733F4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854F2D6E-4612-B304-78F0-50D874A89F52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376FD71F-8EF2-7C52-A533-EA596FE92BC1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D05C71B2-0315-ABA5-F83C-9A3A33C9B05B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5D4C2819-EF22-FC85-6925-5EF03FDEDBAD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6F9C2601-2C5F-7F20-81AD-231BC15F3DCF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AA356EC9-A678-F0B0-AEF0-1D0AEB1206B0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829ED9E8-E850-DCAE-CFE9-85417ADCB989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5256091F-824F-242F-375E-82B113DD719F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4C832CDD-6796-BB4D-5DF6-DBFD6016BB33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E712240F-8706-0755-F444-E8756926CF89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65175E4C-B903-722D-8B54-91DB07CC724A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980D7709-984A-0113-C895-269E66739A8D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D976A848-0B67-E312-AD25-35929FD150CE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8A6CFBFB-0180-CA99-3AF1-4C88BB9A59AA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9A0DBAB2-0164-2CA5-C0F2-B4B19F0C07FF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E1B09C38-365D-4BF9-B225-866C28402C05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A05590CB-9467-4F68-7594-3B550A3D9BBD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0945E26F-3F71-ECC2-DCC3-A2AF20EE8643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9CD6FD24-4BF2-6612-6D75-F158B2AB3736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0B45110C-1DF8-4CEF-BFF6-1F7EA99F0722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E0CCC9AB-5499-D005-9898-535342903313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D7CD31E2-8050-7F93-AE89-D89FAB080B5A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D1A69B69-726C-24A2-4D7D-08779E6E1878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06B0FEFD-104D-C30C-E5DD-6FE16447DFF5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690FEC6A-F7EC-31F5-7A60-5BEBCEF1C891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0245A2B2-2706-8794-2197-6972CDF0F29D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549D8880-56EF-482A-980E-C4D4EA7B0CC8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C933FC26-6472-EED9-EC7D-1680A7116382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44209851-88E2-42A5-60E1-229E4767F5FD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767F9A80-CE2E-5546-E786-F5DE275B25DF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3A676FB1-7DB0-616B-63CB-3192374BFED7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BE4B89C5-C9EC-E854-0521-C0A1291229D2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7D7027DC-921B-4B48-EF0E-326A767C4ACB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7C1523B1-BAE8-8FD0-3331-082B6FBF49AB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BAC64AF8-76A4-45A1-54E3-5868DA2F14F5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5C394EE9-5856-3FD5-6DF3-4AC5915C3F89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B667A9B0-BEAD-C6F4-5948-FBC1418D1AA0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7BE8F78B-E8E7-DE28-3940-D1C37FE033B2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678B0FE6-1501-F477-E445-59631DEF710C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4FD28B6D-C70C-CFF0-131C-90BD7C391B41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24EFB647-191A-3662-19E2-0903DC6A3201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B7B10E4F-6FFC-8382-3559-44F16D3603E2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CA4282ED-BFC7-3338-6A38-A30E909513E1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92764EEB-253F-FF7A-2935-93522C8EEC9B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7AED821B-548A-DE64-F92A-49C34CB340A8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889B7FD3-2D21-633E-2BE4-F13DC502E4BA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39CED77D-86F6-18B3-EB7C-33D58FDCB378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A2022112-F2A4-CECF-F91A-2BC9CD3E0230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04469936-35DD-13E7-FCAF-77911528B484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2C637969-E244-619F-5EDC-ADEB778DCBED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A8FFFEFA-6027-5DA9-BC60-F4A76098F398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40952342-8F4F-BA9B-6F55-94036FD59236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044A7138-F897-2265-93A3-9210D4026823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1C1EC87A-DB0D-7D12-7A8B-3A98100FABF7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50474822-8906-FD7C-C8C4-6559C87AADC7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1025D327-91E0-BC89-6A2B-96078AD8E7A3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6BDBBC58-D9A9-7358-9822-BBBFF8D8F754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6D068588-1682-2FC8-6A85-A0F9C5F05554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B44BBF90-FDC6-8480-D03F-1E2D87D2AEAC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2482D326-BE35-DC4F-4CDC-8ECEFC5206BF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9EAFDA17-3EEB-8F47-D895-830A50150B06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00037C23-20A3-3D23-3CC2-09CEDB2E3AA6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B8342024-A134-6EA9-9EEC-0728488E2B1D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2CF3FF98-F9A3-D852-1E93-56A590D4AFE7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DCD92A27-FE6C-D139-E8F9-8D0E55F6ADE6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83EB33B7-F577-A658-AF5E-5B86D72CED6B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C4F62CF2-AB21-B912-4A3C-8987EC8C61DC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E2E9C22F-D700-98C2-8EA8-F1CD7F14A24C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171DE0CB-D8D6-6970-4A0D-3BEB0B526BDB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CB138DBD-F7F4-F825-2E31-9EA0201D6ACD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FFF750D2-ACDF-F3AC-BE18-8C30E4BF4EEC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366629A3-7E19-5AD2-1AE2-BEA331B217EC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1619AF19-DB41-A0B3-84D0-4A229E83728A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0A0FBC09-9008-040D-D891-C3B76593C1DC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799A2C70-2AC4-5D67-4972-9CBDB2C98B5D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660178D4-0F10-F447-DEA1-88DA61D26A33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31FB2375-64C1-EE26-3507-07169C2E5860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962CFB16-AF09-4585-4506-03319A91A5BD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8FFEEFF0-B746-66B7-44CE-108363E6D9E6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8BB71087-2228-FEC6-1BA0-29E351B9AEBC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0E0B7101-BDEC-BC7B-114D-D30C5271DEA0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44F8A8E6-258B-01A8-565B-F85F1736B39C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AEA8D220-648B-B46E-5D22-6BDEB35A15E4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C65CF759-44E4-222E-5F2F-CAEE6A2BA238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D56378F0-4F0F-3CAE-2FFA-F18CFE20A049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0AB1CAD4-CA0B-89FF-BE4E-8CB5A6A19039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A92BB706-C7CA-FE20-57E1-831AB5E7421F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7605DA19-B977-A561-12AD-8CD411FF5A3F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31078393-6E1E-5B4F-4595-59816C06FECB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3003E53F-23D0-1CF0-BD74-37D81080E68A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C9878A54-097A-B35E-E300-FAF20C4CA7AB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70BA67EC-8BBA-8406-AE44-1DF5A7E40E0B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4AE886A7-1A29-3E15-0477-9E4B7D8549BF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C54C8E47-ECAA-05DA-0F27-6D19B1758779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DB8DF748-0940-F703-2542-7FA9B738865B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65DCFE8A-4F37-46D0-F55E-59FFDA4F923A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13A2DB44-E5F9-2B67-29D9-FBAFC0E8B93C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D9510741-D008-91C5-FEF7-7C799710E794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992AD4B0-1707-8D9E-F0DA-1D89A91089F6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5C860EAD-475D-AFD7-31A8-A767C44E5225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CD6BEDC8-D430-E394-531E-28EDF38A8D72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3816CA79-1209-C31A-BC36-D99103144A65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BC766370-BFD5-1798-54B1-31A591B5EF65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627A7A9A-9640-A299-539F-CE1F8FA923C6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4727447F-372C-E691-CD67-C6443B731C60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BA819078-6819-1FF9-1F46-B7453D349347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BC663F85-BFA7-4E3B-BCEE-4BF823D5E307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88094E99-C170-66B9-DEFE-8B6643A4C77C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BD109314-D7EC-7D6B-5B58-BF2B8AD2A811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C121D150-E0F1-BDD4-A9F4-E38E5E665A69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1A01BFBE-A4DA-F5B5-B1CA-B12FD0BBB4F5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19E6F947-0B4A-0F00-EE92-31D0EE97F7F4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1731683A-24B7-AD7A-DB55-C98D5B65FE67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E8B08AB2-AADE-13F8-A6E8-0F8C4F67D592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DE36C522-DD93-A5D6-4EF5-838F5872B313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33448448-36D6-EBAA-912E-25238691F382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7981EC67-6267-123D-B72F-9C9C09B47073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984452CF-8EE8-10D5-9D3D-155D78F91F15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CD0EA4A3-32B2-3A69-0832-2259B716C525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2008DB77-1124-5CA4-B413-63BE366E3DA4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36E2738A-AA03-C231-8E49-67AA2C5F3DA6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96329467-F280-ABCE-834A-CC0E2C5FC476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1AA7D947-F776-09B0-50B3-AA6D02C68B68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AD2439B0-1D82-1582-43DD-C4F78C6B0C2E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B1E44DA7-5E59-45DD-BADC-0A750C4754EE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427CB213-9153-1ABE-B6DC-52E0B28E514E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422685AA-6498-09D6-30BA-A6D5237C23F2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143E5422-A22A-0F2E-4CB9-D2671714CD24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C597D597-D39D-C541-9E77-7B6F4B00BB3D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ABE058A1-6577-3154-7919-A2964D86FDD4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1CBC49C5-B174-DDBA-3FAC-16082A0866CB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34267AE6-BFB5-021C-EDF2-F2B6522D33C4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EAFFDEC6-9597-C948-16F2-0F0D670421CA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CB579419-1F00-5A0E-A4F0-6BFD2233FC9A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24FA3643-912F-F501-611A-11B7E153E6AD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BBF75DAF-1BBF-AE8C-65F5-20D91927A152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C22483D9-D50C-C190-4E81-E8E203CA6518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5EE563F7-39C2-1647-3C2C-53A824BBE4F0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9E9D8A45-04BC-C8D4-96A9-CAB2529EED2C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5A339BDE-9060-EAFE-D62B-2AD8CF652B29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040F5082-BEBA-63C4-C89E-1D35230B0A55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027E578A-4F25-0EFD-E23B-E0AB6DE780DA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3706D47A-EC9E-0090-DD4F-5B478708E3E8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6443FF75-2CB8-C5F2-A20F-121C861349F5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BC74AB46-39B1-4976-75E7-215F826F4D32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B27ADFBA-A838-5A20-B27E-0B86E4CA2B5D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E34851DE-F7BB-65BD-530E-875774A96ED2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4CD29FDD-5E67-6A44-278D-B28F2FEC61A3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55A0CDA1-ED72-FDB5-02D8-21B339368547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024F24E0-2378-5D8F-62F1-FDC35F9996C4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B6041FE5-3DD0-BA5C-F490-969B32DEB034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027F9C34-2FFC-05CE-63A2-7A9F8A53062E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11855CA6-9BEE-0D41-9A2F-EA6700E3E6E6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95FC02E2-733E-B756-41EC-C77C6EF3901D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8E562D8C-5B75-4E9F-7669-112D80164028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2310DFD1-1675-AC65-8695-E3E7BCBE46B1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A4C66917-7C66-51CF-36CA-AE7BC91D32B0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1A5E320D-2F50-E6E8-8727-65A28D5AA1B0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76EE84F1-001A-66DC-FCB5-B04A718E6C26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D2C4C2CB-B07C-12C9-0FC3-3C7F1B7FD164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4342C4DA-116B-09D0-82E3-60731201F3C1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4CC16B37-388F-8F0D-C695-FB36BAA34B66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722B6F0F-8267-D1C4-D42D-EAC42EE275D2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A1561689-DD3A-75BB-114F-9461BDDE8D5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5EFA5569-05AA-75DA-8962-E75E6E613271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30C0973D-DAF9-97D1-94F4-0C1AB2B2D23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C1C1B9CF-00DB-DED6-36C5-5000895E6079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F6414066-07E6-BF18-4893-39094A078E94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B224B066-CB2D-412F-AAC5-6FE8DD7F4ED2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7D6E0BA4-3E42-DE74-7463-B33823CD0FE7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81505D3E-02AF-371B-65D4-58B75C5B0A30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056CE24A-C4B0-CD6B-395A-7151306D4536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04166B9E-015F-6748-C85D-519FCD2382A2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777A919A-09B6-7DCD-694B-F1280DC4C93B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9C6BB449-A55B-B04F-A6B6-BA7613F3CCF8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DC60BF55-BD21-316A-2D02-48900A04AC42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99044B74-3504-B6C3-0B3E-3FAC9CE68BC9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3F3EE1EF-5001-F637-4A6C-409A976CF75C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AACF1DF1-DFCB-430A-E52E-D05246F38E7B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0684D8CC-5BA3-F0E9-E55B-54D74368851D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49D4C5A1-483D-5760-A066-AE39C9CE29FF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1D20AC52-22EC-1972-9903-6A8A07611032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9E6C1D42-B994-97AA-257A-DAE4D066C94A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EFD9E726-1877-45DE-648D-83AB5DEBAD6B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342F355F-65EC-62F7-233C-382DB0C6CCBE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15546173-4AAC-AB92-EDC0-DE869880ED28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53FD5E79-A75B-A7C1-1659-A5BD7AE8684C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AAFC0BC9-D3E3-ED68-2994-82BA4F5EED9B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4452E120-CC6B-A5B4-84D7-D1927FE7D14E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62891E77-E6A5-9605-76C9-9E44A0DE130A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259294F6-D17D-D2AC-7619-17224943615D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BFF59AAF-2585-F587-4E55-33273A62D7C3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221F3D34-F2DF-7154-A28D-38AB0A9687FC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C1B7BDFC-253D-FA67-3B4A-19F49D4ECC03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19663907-9A4D-F199-3D2E-55E5FBABEF5E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ABE38B71-A273-64E8-168C-EB6AE20F0F9A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E7CC572E-E4AD-1C1C-368D-A7D228C854FF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9DF52186-B783-71F9-6BF2-0D184A82431F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EE01BF46-363F-A2FF-BE0B-A573D0AE242D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76D9ECF0-80EE-2EF6-CC2C-6CC3F71F2142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6232ECB5-C6AC-8D51-FAED-548F8A25278F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7ADAA973-BC4E-BAF3-D5F8-A78D160BF638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00DFCDA5-F0B4-F164-8F57-5F04A17FA90D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04033CFC-3F88-E752-7A6D-284C71A73E5E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E916FF94-A150-057C-69E8-5853E3D2C23C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617799AC-6858-F887-7A6B-5C1BECF939ED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B7CD0430-EFD1-653F-CF6C-766C8E57F4CB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655DD4D5-6DA3-5347-5370-B580AB498722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43F81263-07FB-00AA-9BD9-F8410C0B4DFE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F4825B19-5637-465B-F73A-2D7CDBBE7A36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51256FA4-87AA-7ECE-DD85-CCDBD1B23A7B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1EE7AF5E-942D-AB33-B61E-1ECDB90BF74A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EB3F3699-59A6-6391-3BC1-ADC32AE8018E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BB5CCAB7-F54A-6267-D548-374AC6F72DDD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CB8A9C9F-A728-FC7A-5E9B-761BD02DF140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EED392B7-C068-7921-C058-97B3DB57E29B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2F522603-685F-B5CF-8608-A9887C873170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60795572-8C7E-27E5-1AF5-B6141C9467D8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7A141AF-F691-E290-E908-57D5684C5B02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CEE64496-1782-F582-6329-6A78FD84AA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9CF7888C-BA39-5E97-3DA1-C27DBE2B025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C085BE49-0710-D557-7413-2321124DB089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57B8947B-0BF6-9695-6676-7A11768B3394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E5597D3D-1DAC-4C38-C486-AED63156EE07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2AE1629C-A82C-0B54-32F5-91ADD4809922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980E6A54-A17A-A47F-A784-1C243BA1E3BD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E5EA6D70-3CEA-E472-9528-281FF64D53B1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549B7052-466E-C504-1C27-D446063ADCB2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03A5A1F9-E1E0-83B5-262B-8763042A656D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BE5DB243-C3B3-2C45-BE52-24C16241379E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634E5978-045F-DFB8-37BC-119F6621E4DD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51E4E970-07E0-D2DE-A71E-65EA46E4D2A1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5564B564-A5DA-6142-0E6D-59376F0A3DC7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B33DB0C9-CC29-68AB-58A7-FA3296F762E9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1C687281-B22C-7321-5894-FB26A932B768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30FE1079-94C5-6A35-1D66-819DA460F6C9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8C89F089-5387-5B9E-30B6-03671344261E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B2BACD21-A20D-1A88-3D13-CDBBDF9DE641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84180F59-0395-2C90-18C5-B81564650D0E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1E02374D-52EB-DDED-BDD6-910EEBC4BFDE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50EA2676-0343-BB2F-5C43-A03C0F76D466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C8026BFF-4482-FC22-EA26-63EC36A39330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C31486AE-C4EC-E9FF-5F1F-3488CD297D89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F77DF72F-29AB-B1E9-1DF8-C87827AB95B4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F30DC3F9-2BC8-5D5F-95A0-792FAD5EEE40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62EAE8AB-E9CF-FDE6-3159-43D6750F1732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1004E8B6-BEAC-310C-B106-4760A5A4AAE9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4AD3F053-7FF6-98FE-63B5-19FAF7E87D4D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29C9944F-2B0D-B9FF-80DF-0151EA01591C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4A38CD3D-9542-89DB-2DD7-560B83307F28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375D93CA-C78A-7D75-592C-4A598D6AAEF1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16A8CAEF-D2A3-05DE-70BE-E1A54676EAE9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61827B59-C311-C650-209A-47CE7645C0B5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B9791658-1EEE-4604-51CD-90F64FC95524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F63900DE-9A08-433C-5A18-0DE0E5B2F301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3C6468F3-5441-842B-EC0F-9E785CD9C555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79ACE747-4F1F-B211-8C13-B3D593BA83BA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17A06F45-428F-8361-F663-DAD73B3FC384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63B852F4-13A3-463A-21BD-0C6F9A33DB5F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81CE2483-39F1-C98A-DBE5-BE0FD85B9FA2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DFC87C9C-AC07-039F-A186-6312976D7182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4EBC8484-BD0B-A417-272E-0DDE9998BA4B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5CE4F6C3-8867-28D4-BDAF-79CB47BD5657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0325D2AE-0C6F-7638-D835-721BE67CB7C9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76AE8ACC-6B36-0009-8629-202B66775D44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7CC4C232-B796-680A-D66E-6F3505296B81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47EAF5C8-F343-9BFC-E6E2-43D6ED29DAD2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9C7FD4BC-A66F-0357-5FDB-478D75336240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DAEA04AF-F79C-6547-A53A-788F096D73E7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0A1951E4-CA0D-87EA-E498-4233592B95D5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DBF7AE24-8427-75D2-A52A-105EFDEA4BB9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97EC8E9D-8614-2759-CAF7-52AA78C0117E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A0BA141E-B1C0-8AEB-50E4-2EE6B5FD2CBD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F04BA982-CE33-937C-6B19-FADDA3FDD041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E0C8F329-5107-F51C-9FE8-4BA49D98653A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E163D529-26A2-5547-E180-3F67B802DBA9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056A51AB-4765-DD31-863F-FC64170AAA4B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7C128DED-0792-641C-FD5E-16224306F7BC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CDBBDC9C-B1E2-D0BA-E923-BB0C49B0DA77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169B1201-BF1F-6968-6111-6FA3E156673E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6995071F-557A-DDF0-1FEC-C73B24AA5AF5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DE2576D3-BE08-2876-CA2A-A518C68B044C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E6521588-0341-C6F0-7A0F-44AF841FACE2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178ACCA2-B5A3-961B-DF9C-E05FF99F8093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7631088D-D40F-C5F0-BE9B-817DB190E63F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782C5BC4-DFAA-AB6E-2E97-3CB68780BC55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739C07C5-6449-A747-B7BD-A1B332C9EBDD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8223EC22-5D9E-2082-921D-897A4C8BA3DB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19C7AEC6-1FA3-25DC-7317-9F71CE5C44B6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C4CF837C-4EED-9169-7C45-6039914EE0B9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1B4ECE87-EE2F-720A-F504-01646902E762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A7CDDAEE-4E6B-58FC-C07B-4BB8D2CCC76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685740BF-0AD1-4454-62C6-8E0B54720862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C1F25301-2CE1-F4B3-6188-E2BE661BD6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AF05D3BC-8AF0-71BC-FA11-79901A9EDA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A8B6B184-3659-C519-52E8-B7375E1721E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ABE1C257-264A-5FAA-E2D2-F532921F9F7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CA956C93-3D85-C9AC-CF7F-C618035A1E6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C772C5A6-512E-C4E7-5901-EFCB18D2EC8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1256E878-7BE0-3B75-9692-2F6F83886E1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0DD9217D-DA40-EF70-F86E-657954CDF50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01299E99-2471-5BCB-4A9D-7FA8132953D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80BF076C-0BEA-8FC4-082D-9C6E5EDDF34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D694F310-2A3C-4A48-3A33-3B837E40706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28805140-B156-B6A7-3340-DEBE27410B9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EC7D6B01-AC1E-5DBC-5617-FA034DE4420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1FD883A2-C933-9833-F28B-98EF7CC3CD7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33D29AA6-1E4C-BDD4-9E09-CE58C5D22E5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FD06616F-170C-3F30-BDBE-DAB9E697E8A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DE9868C7-67CC-8B61-459D-94F061D47D3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FE3FFDD8-052A-8351-1154-F74F8043108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37002404-DA5E-307F-70C2-53F4ED4646C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EFEF236D-C6CC-D444-1CB8-7D6D45DFF28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4883108F-7361-08C4-1800-E1769DD574F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F44D33EB-FB28-7533-FD8E-E6A4DB38BF1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DFE92E9B-10F6-7F5B-0E8D-1987CEFE3CC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noProof="0" dirty="0"/>
            </a:br>
            <a:r>
              <a:rPr lang="en-GB" noProof="0" dirty="0"/>
              <a:t>Germany</a:t>
            </a:r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29" id="{DE9B5E76-F975-4CE6-92C5-6CD3AD735EB8}" vid="{E4D375EC-4352-4A46-9D76-0F3A47E4CDB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water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4:29Z</dcterms:created>
  <dcterms:modified xsi:type="dcterms:W3CDTF">2024-12-10T08:1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